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4" autoAdjust="0"/>
    <p:restoredTop sz="94660"/>
  </p:normalViewPr>
  <p:slideViewPr>
    <p:cSldViewPr snapToGrid="0">
      <p:cViewPr varScale="1">
        <p:scale>
          <a:sx n="75" d="100"/>
          <a:sy n="75" d="100"/>
        </p:scale>
        <p:origin x="902" y="4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49B4FD-D20F-1CB4-1180-5109CCE6638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6B8DD04-4443-8621-04A3-700E7559A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Z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E6DE5E-D5F8-B2E4-0DF8-0D5B874F5E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8AED88-6FAE-43D9-827D-F2610A722D3D}" type="datetimeFigureOut">
              <a:rPr lang="en-ZA" smtClean="0"/>
              <a:t>28/08/2025</a:t>
            </a:fld>
            <a:endParaRPr lang="en-Z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D24FA3-0BD3-8C69-11B1-7F5EA5876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39D350-CDD5-0A0A-5E4D-48FCA15CAD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15D0A9-EE99-4B60-834A-CE78F5A30706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4343797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412715-0060-0661-3077-BA22B48DFB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DB39791-BD96-58DC-5F94-85659E9835E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E96C00C-055D-0CB8-2B6A-D8183B6966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8AED88-6FAE-43D9-827D-F2610A722D3D}" type="datetimeFigureOut">
              <a:rPr lang="en-ZA" smtClean="0"/>
              <a:t>28/08/2025</a:t>
            </a:fld>
            <a:endParaRPr lang="en-Z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3ACE62-A0DC-E38D-1704-54191D4447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80B610-F75E-336A-5A06-57C0B12EF4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15D0A9-EE99-4B60-834A-CE78F5A30706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346020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C84EE79-F61E-6F97-F70D-F73160E2EC5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E4BE232-CEF3-602E-4C13-D6109321B77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61FE59-1593-5471-C6CC-3F5B30B057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8AED88-6FAE-43D9-827D-F2610A722D3D}" type="datetimeFigureOut">
              <a:rPr lang="en-ZA" smtClean="0"/>
              <a:t>28/08/2025</a:t>
            </a:fld>
            <a:endParaRPr lang="en-Z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E15FE8-CA22-8B2A-5884-D9BFBD2668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506FDA-F8C1-6A14-36E4-CEE3B3C035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15D0A9-EE99-4B60-834A-CE78F5A30706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7539875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B34147-90EB-D349-5EC9-0A4DD8A1C6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189F84-FB27-4D4C-5682-0DA2105B90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549BE6-D285-5FA0-ACB9-1E9CCDF05D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8AED88-6FAE-43D9-827D-F2610A722D3D}" type="datetimeFigureOut">
              <a:rPr lang="en-ZA" smtClean="0"/>
              <a:t>28/08/2025</a:t>
            </a:fld>
            <a:endParaRPr lang="en-Z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B652B1-C480-5F39-0784-78BB35E43B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00B8D9-E2DF-4679-7FDB-A6D1A3D5D9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15D0A9-EE99-4B60-834A-CE78F5A30706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9668693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ECF5C3-54EA-F5D7-C8E1-97AAEF2117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F1489-255D-3386-6677-35000050CA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B0824E-4400-B628-0F2C-A221D0C14C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8AED88-6FAE-43D9-827D-F2610A722D3D}" type="datetimeFigureOut">
              <a:rPr lang="en-ZA" smtClean="0"/>
              <a:t>28/08/2025</a:t>
            </a:fld>
            <a:endParaRPr lang="en-Z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AB74C4-6699-D15F-91CD-BF38DBF758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3D8453-8B75-5BC9-5F98-A0D7A3BA6D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15D0A9-EE99-4B60-834A-CE78F5A30706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0874272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0A7F44-7219-5266-1218-AAB4F20B88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CC2246F-C292-542C-720C-A2CCDDB82ED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5975D25-78B2-B3F1-6FA6-84B218AF7AD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8E3E07D-F829-0DDF-0E7A-8B7F2CD799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8AED88-6FAE-43D9-827D-F2610A722D3D}" type="datetimeFigureOut">
              <a:rPr lang="en-ZA" smtClean="0"/>
              <a:t>28/08/2025</a:t>
            </a:fld>
            <a:endParaRPr lang="en-Z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9D7CA53-850D-B491-69AB-795CD15528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DD684A5-9654-D84B-A4B6-4521152DB0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15D0A9-EE99-4B60-834A-CE78F5A30706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9908548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7361FB-B27A-12D1-B238-C33B628AE6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A74DD5-D64D-504A-4029-C934F798FD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DBB83EE-26F2-0B15-6344-46CB6C97555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7D98B31-8D0E-67E7-C70A-F7FAC7222CC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1511725-31C7-E22C-FBC3-055A47EE9B7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C2779AF-C917-9E70-1C59-EE1A8E0B97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8AED88-6FAE-43D9-827D-F2610A722D3D}" type="datetimeFigureOut">
              <a:rPr lang="en-ZA" smtClean="0"/>
              <a:t>28/08/2025</a:t>
            </a:fld>
            <a:endParaRPr lang="en-ZA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38FE30C-0EEC-1FF3-61EB-BA87E7B525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FCC5747-AD51-A924-AB49-39491B469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15D0A9-EE99-4B60-834A-CE78F5A30706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8339622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05E6CC-9F19-1C81-DA74-9D0D2BCC33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C794732-DFCB-4E41-6C95-DEF4139FF6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8AED88-6FAE-43D9-827D-F2610A722D3D}" type="datetimeFigureOut">
              <a:rPr lang="en-ZA" smtClean="0"/>
              <a:t>28/08/2025</a:t>
            </a:fld>
            <a:endParaRPr lang="en-Z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F66C366-C878-6FC4-A2DF-DD500AC626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5F2DD2D-DC8E-430F-CE13-40BC030E8F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15D0A9-EE99-4B60-834A-CE78F5A30706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3310355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822BE38-9160-370B-9C6D-C98164BF71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8AED88-6FAE-43D9-827D-F2610A722D3D}" type="datetimeFigureOut">
              <a:rPr lang="en-ZA" smtClean="0"/>
              <a:t>28/08/2025</a:t>
            </a:fld>
            <a:endParaRPr lang="en-ZA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A38AF7F-5530-D4DC-47BE-00BF1EAB0B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1C5B94-A757-C8F0-1E77-3AD05554F8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15D0A9-EE99-4B60-834A-CE78F5A30706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0076007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4C81DF-FAEC-7731-7B56-DD6FB973C2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0AAA13-1E26-BA1A-160C-7A32A12FE1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302332D-8481-54A3-35D3-70C267777B7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1584A96-D5D8-95B4-7D5B-B6B2D5F1F2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8AED88-6FAE-43D9-827D-F2610A722D3D}" type="datetimeFigureOut">
              <a:rPr lang="en-ZA" smtClean="0"/>
              <a:t>28/08/2025</a:t>
            </a:fld>
            <a:endParaRPr lang="en-Z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7A23B5E-A859-809A-39CC-FBFBEBA76C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DF725DC-0568-5106-25A7-9CDB521A17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15D0A9-EE99-4B60-834A-CE78F5A30706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982519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2B00EC-0A21-9C3E-E7BF-DFB9A15483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22CB768-1DEC-5777-DE60-4A4894CF5AF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Z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330B7F-D345-32DD-47C7-B5A9432B8B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D03BDB5-F853-CB29-6DE0-04BA14AC65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8AED88-6FAE-43D9-827D-F2610A722D3D}" type="datetimeFigureOut">
              <a:rPr lang="en-ZA" smtClean="0"/>
              <a:t>28/08/2025</a:t>
            </a:fld>
            <a:endParaRPr lang="en-Z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B1DCFA8-5BD2-7473-A2DA-5816E8B2EA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F4309C1-0E73-4483-77BA-20F3A77B19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15D0A9-EE99-4B60-834A-CE78F5A30706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38808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267E921-FE8F-7BD7-DB5F-FE0C18C8AD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732755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25" imgH="424" progId="TCLayout.ActiveDocument.1">
                  <p:embed/>
                </p:oleObj>
              </mc:Choice>
              <mc:Fallback>
                <p:oleObj name="think-cell Slide" r:id="rId1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87AEFFE-2B59-6128-8CA8-E79E08954D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9FE6EA3-CC9E-5CA3-DFF2-58B433884D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D2D46F-508D-BA36-99DA-35C6F21468B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D8AED88-6FAE-43D9-827D-F2610A722D3D}" type="datetimeFigureOut">
              <a:rPr lang="en-ZA" smtClean="0"/>
              <a:t>28/08/2025</a:t>
            </a:fld>
            <a:endParaRPr lang="en-Z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D59D1D-5D4E-C072-BDF2-8B25A8671D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Z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CBEE5F-CC68-FB34-888D-86155F3B7F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E15D0A9-EE99-4B60-834A-CE78F5A30706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6116465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1EBDA15-023E-D66B-760E-EAFBC526F2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5218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AA624D01-EB6E-1621-5C98-0A2D66DEC12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14120" y="952285"/>
            <a:ext cx="8763759" cy="4953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17905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E48966-91B9-9880-DAB9-F295788364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3411B5A-4ECB-4B39-2EEF-21D7743D18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4081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DE0472C4-934E-F001-3FCD-9ECA03166DF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48413" y="1192336"/>
            <a:ext cx="8695173" cy="4473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5927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6B56590-DCF0-BB30-2936-DA82F7B8EE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34577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94E6027D-9ABC-4FAF-A4C2-7844601F86B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7407" y="738722"/>
            <a:ext cx="10061993" cy="5380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32674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355C14-15FB-BAE5-CD03-C83572A37F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4E9C85B-6764-2EB5-88D0-457E8ACEDE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3272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A72F87FA-826D-575C-B11A-46CFB9D2239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21741" y="982768"/>
            <a:ext cx="8748518" cy="4892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10619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A9EFD7-B465-F541-F4B0-4679632FAC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5EC3D4D-B697-595A-8539-5C12A1F2AA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5492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5F227572-9845-2287-F3F3-8570B4488B6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40792" y="963716"/>
            <a:ext cx="8710415" cy="4930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43921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602BED-CB39-2091-1782-99E995B0E6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96019E9-BDD9-7242-218F-00C1DF995F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0017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1242D80A-A2CE-2DA4-53C0-3B4CA354C44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44603" y="959906"/>
            <a:ext cx="8702794" cy="4938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5873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4C1DA6-8A58-4F82-DD3F-C9FBC9A5EF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384CE93-8595-7CBE-7C3E-131491FD20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035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AD0A2186-5F9C-5CB8-F143-6154729065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59844" y="1039923"/>
            <a:ext cx="8672312" cy="4778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3034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57BADB-19C2-0AE6-495F-0FCE8E14C9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29C918F-DEFF-B966-47AF-9DAE3B1B9B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3234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588625E5-8789-618B-D96A-4697C2C3B3B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25551" y="1081836"/>
            <a:ext cx="8740897" cy="4694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44980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E0CA1D-F421-A9B0-5697-AC33ECBCA5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3847430-BB7F-7F8F-3F51-F68F4B9347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99105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56C8EED6-A60A-DCD5-49EC-1427C5CD113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21741" y="1177095"/>
            <a:ext cx="8748518" cy="4503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07769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91569C-9626-6A89-8234-D2E20D2F3A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DFDA479-BD4C-D440-9C84-5F5110E3B2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04566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A8B4E034-7C45-D13C-8133-F9ACDF16230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82706" y="1097078"/>
            <a:ext cx="8626588" cy="4663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68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405C43-2792-2588-C41D-2C8C2C437D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BA1F1D7-A12A-1639-226C-47AC4D5D1A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5604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D031B21E-AEF5-7E3D-2194-7F170866A63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01758" y="1024681"/>
            <a:ext cx="8588484" cy="4808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09616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33</TotalTime>
  <Words>0</Words>
  <Application>Microsoft Office PowerPoint</Application>
  <PresentationFormat>Widescreen</PresentationFormat>
  <Paragraphs>0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6" baseType="lpstr">
      <vt:lpstr>Aptos</vt:lpstr>
      <vt:lpstr>Aptos Display</vt:lpstr>
      <vt:lpstr>Arial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Ganasen, S. (Samantha)</dc:creator>
  <cp:lastModifiedBy>Ganasen, S. (Samantha)</cp:lastModifiedBy>
  <cp:revision>1</cp:revision>
  <dcterms:created xsi:type="dcterms:W3CDTF">2025-08-28T14:17:34Z</dcterms:created>
  <dcterms:modified xsi:type="dcterms:W3CDTF">2025-08-29T07:35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b3ff2d6-7c2c-441b-97b8-52c111077da7_Enabled">
    <vt:lpwstr>true</vt:lpwstr>
  </property>
  <property fmtid="{D5CDD505-2E9C-101B-9397-08002B2CF9AE}" pid="3" name="MSIP_Label_fb3ff2d6-7c2c-441b-97b8-52c111077da7_SetDate">
    <vt:lpwstr>2025-08-28T14:22:40Z</vt:lpwstr>
  </property>
  <property fmtid="{D5CDD505-2E9C-101B-9397-08002B2CF9AE}" pid="4" name="MSIP_Label_fb3ff2d6-7c2c-441b-97b8-52c111077da7_Method">
    <vt:lpwstr>Standard</vt:lpwstr>
  </property>
  <property fmtid="{D5CDD505-2E9C-101B-9397-08002B2CF9AE}" pid="5" name="MSIP_Label_fb3ff2d6-7c2c-441b-97b8-52c111077da7_Name">
    <vt:lpwstr>fb3ff2d6-7c2c-441b-97b8-52c111077da7</vt:lpwstr>
  </property>
  <property fmtid="{D5CDD505-2E9C-101B-9397-08002B2CF9AE}" pid="6" name="MSIP_Label_fb3ff2d6-7c2c-441b-97b8-52c111077da7_SiteId">
    <vt:lpwstr>0b1d23d8-10d1-4093-8cb7-fd0bb32f81e1</vt:lpwstr>
  </property>
  <property fmtid="{D5CDD505-2E9C-101B-9397-08002B2CF9AE}" pid="7" name="MSIP_Label_fb3ff2d6-7c2c-441b-97b8-52c111077da7_ActionId">
    <vt:lpwstr>64de2fc7-7495-474d-89c8-ff8d41cd819f</vt:lpwstr>
  </property>
  <property fmtid="{D5CDD505-2E9C-101B-9397-08002B2CF9AE}" pid="8" name="MSIP_Label_fb3ff2d6-7c2c-441b-97b8-52c111077da7_ContentBits">
    <vt:lpwstr>0</vt:lpwstr>
  </property>
  <property fmtid="{D5CDD505-2E9C-101B-9397-08002B2CF9AE}" pid="9" name="MSIP_Label_fb3ff2d6-7c2c-441b-97b8-52c111077da7_Tag">
    <vt:lpwstr>10, 3, 0, 1</vt:lpwstr>
  </property>
</Properties>
</file>